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1536" y="-37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14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1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docs.oracle.com/javafx/2/get_started/basic_deployment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xmlns="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xmlns="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://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docs.oracle.com/javafx/2/api/javafx/fxml/doc-files/introduction_to_fxml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wing 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Java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://docs.oracle.com/javafx/2/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52578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loader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tring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.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!");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Java in browser trouble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Callback complexity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dd </a:t>
            </a:r>
            <a:r>
              <a:rPr lang="en-US" sz="3000" dirty="0" err="1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behaviour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 (sometimes)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http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://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docs.oracle.com/javafx/2/get_started/basic_deployment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github.com/javafx-maven-plug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://docs.oracle.com/javafx/2/deployment/self-contained-packaging.htm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https://github.com/edvin/fxlauncher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Create a custom component</a:t>
            </a:r>
            <a:endParaRPr kumimoji="0" lang="nl-NL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2048 game</a:t>
            </a: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638</TotalTime>
  <Words>335</Words>
  <Application>Microsoft Office PowerPoint</Application>
  <PresentationFormat>On-screen Show (4:3)</PresentationFormat>
  <Paragraphs>98</Paragraphs>
  <Slides>10</Slides>
  <Notes>1</Notes>
  <HiddenSlides>6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1000</cp:revision>
  <cp:lastPrinted>2016-01-15T15:12:31Z</cp:lastPrinted>
  <dcterms:created xsi:type="dcterms:W3CDTF">2012-12-22T14:05:29Z</dcterms:created>
  <dcterms:modified xsi:type="dcterms:W3CDTF">2016-07-14T05:18:25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